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8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0E867764-BE51-468A-A6B7-9697983EF2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0E867764-BE51-468A-A6B7-9697983EF2D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08" name="Title 1">
            <a:extLst>
              <a:ext uri="{FF2B5EF4-FFF2-40B4-BE49-F238E27FC236}">
                <a16:creationId xmlns:a16="http://schemas.microsoft.com/office/drawing/2014/main" id="{92705DF0-1B87-4F0D-B41E-131C9871B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84250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Asegúrese</a:t>
            </a:r>
            <a:r>
              <a:rPr lang="fr-FR" altLang="fr-FR" sz="3200" dirty="0"/>
              <a:t> de que se </a:t>
            </a:r>
            <a:r>
              <a:rPr lang="fr-FR" altLang="fr-FR" sz="3200" dirty="0" err="1"/>
              <a:t>aplica</a:t>
            </a:r>
            <a:r>
              <a:rPr lang="fr-FR" altLang="fr-FR" sz="3200" dirty="0"/>
              <a:t> la </a:t>
            </a:r>
            <a:r>
              <a:rPr lang="fr-FR" altLang="fr-FR" sz="3200" dirty="0" err="1"/>
              <a:t>cantidad</a:t>
            </a:r>
            <a:r>
              <a:rPr lang="fr-FR" altLang="fr-FR" sz="3200" dirty="0"/>
              <a:t> </a:t>
            </a:r>
            <a:r>
              <a:rPr lang="fr-FR" altLang="fr-FR" sz="3200" dirty="0" err="1"/>
              <a:t>correcta</a:t>
            </a:r>
            <a:r>
              <a:rPr lang="fr-FR" altLang="fr-FR" sz="3200" dirty="0"/>
              <a:t> de cola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D2D3E46A-0079-47F1-8BF7-CB254A9EB2F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14680"/>
            <a:ext cx="7997825" cy="3079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Rodillo</a:t>
            </a:r>
            <a:r>
              <a:rPr lang="fr-FR" altLang="fr-FR" dirty="0">
                <a:solidFill>
                  <a:srgbClr val="000000"/>
                </a:solidFill>
              </a:rPr>
              <a:t> de </a:t>
            </a:r>
            <a:r>
              <a:rPr lang="fr-FR" altLang="fr-FR" dirty="0" err="1">
                <a:solidFill>
                  <a:srgbClr val="000000"/>
                </a:solidFill>
              </a:rPr>
              <a:t>encolado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 err="1">
                <a:solidFill>
                  <a:srgbClr val="000000"/>
                </a:solidFill>
              </a:rPr>
              <a:t>grabado</a:t>
            </a:r>
            <a:r>
              <a:rPr lang="fr-FR" altLang="fr-FR" dirty="0">
                <a:solidFill>
                  <a:srgbClr val="000000"/>
                </a:solidFill>
              </a:rPr>
              <a:t> - </a:t>
            </a:r>
            <a:r>
              <a:rPr lang="fr-FR" altLang="fr-FR" dirty="0" err="1">
                <a:solidFill>
                  <a:srgbClr val="000000"/>
                </a:solidFill>
              </a:rPr>
              <a:t>paquete</a:t>
            </a:r>
            <a:r>
              <a:rPr lang="fr-FR" altLang="fr-FR" dirty="0">
                <a:solidFill>
                  <a:srgbClr val="000000"/>
                </a:solidFill>
              </a:rPr>
              <a:t> "b"</a:t>
            </a: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1CFE46C2-9B31-4102-8B97-5014761D210F}"/>
              </a:ext>
            </a:extLst>
          </p:cNvPr>
          <p:cNvSpPr txBox="1">
            <a:spLocks/>
          </p:cNvSpPr>
          <p:nvPr/>
        </p:nvSpPr>
        <p:spPr bwMode="auto">
          <a:xfrm>
            <a:off x="652463" y="586263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de-CH" altLang="fr-FR" sz="800" dirty="0" err="1">
                <a:solidFill>
                  <a:srgbClr val="000000"/>
                </a:solidFill>
              </a:rPr>
              <a:t>Eficienci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mantenimiento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obsolesce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Equip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de-CH" altLang="fr-FR" sz="800" dirty="0" err="1">
                <a:solidFill>
                  <a:srgbClr val="000000"/>
                </a:solidFill>
              </a:rPr>
              <a:t>etiquet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 </a:t>
            </a: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e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AA27b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5B74F469-0485-4744-B5D1-1EEE5093E4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86F28805-CD1A-4064-B310-B583D7F57957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05649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5A2CFD01-CF69-48B4-9124-89B1C3071CA4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OR Y VENTAJA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BA58E0D7-6068-4332-B37A-85A26BE41968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E2DBDA2A-4947-4625-A739-23EF8E35440F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DESCRIPCIÓN</a:t>
              </a:r>
              <a:endParaRPr lang="es-ES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25E244FE-F118-4691-B946-1940260FF72F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A87AA56-5FA8-4882-88AB-29E33AD2E452}"/>
              </a:ext>
            </a:extLst>
          </p:cNvPr>
          <p:cNvSpPr/>
          <p:nvPr/>
        </p:nvSpPr>
        <p:spPr>
          <a:xfrm>
            <a:off x="633412" y="2095327"/>
            <a:ext cx="3890963" cy="349017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segure la producción reemplazando los componentes obsoletos (los rodillos de cromo ya no se fabrican) con rodillos de encolado de última tecnología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vita salpicaduras de pegamento y filamentos garantizados por forma de “nichos”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Asegure la cantidad adecuada de pegamento aplicado en la etiquet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Mejor control de la cantidad de cola aplicada: si se necesita más cola, es suficiente aumentar el volumen de los nichos y el área de las almohadillas de etiqueta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Reduzca los costos de mantenimiento y el tiempo de inactividad de la máquin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l reemplazo de rodillo recomendado pasa de 9000 h con la versión actual a 36000 h con la nueva versió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El tiempo de vida de “</a:t>
            </a:r>
            <a:r>
              <a:rPr lang="es-ES" sz="1050" dirty="0" err="1">
                <a:solidFill>
                  <a:srgbClr val="000000"/>
                </a:solidFill>
              </a:rPr>
              <a:t>Scrapper</a:t>
            </a:r>
            <a:r>
              <a:rPr lang="es-ES" sz="1050" dirty="0">
                <a:solidFill>
                  <a:srgbClr val="000000"/>
                </a:solidFill>
              </a:rPr>
              <a:t>” se duplicó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50" dirty="0">
                <a:solidFill>
                  <a:srgbClr val="000000"/>
                </a:solidFill>
              </a:rPr>
              <a:t>Reducción del costo de las piezas de repuesto (en promedio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3E23326-F2C5-4E9B-991B-9EB60701CB1B}"/>
              </a:ext>
            </a:extLst>
          </p:cNvPr>
          <p:cNvSpPr/>
          <p:nvPr/>
        </p:nvSpPr>
        <p:spPr>
          <a:xfrm>
            <a:off x="4735512" y="2095326"/>
            <a:ext cx="3890963" cy="204247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Siendo obsoleta la tecnología existente de rodillos de pegamento, Sidel ofrece un nuevo conjunto para entregar la cantidad correcta de pegamento en la etiquet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Barra de pegamento autoajustable con sistema rascador integrad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Nuevo concepto de transferencia de cola con temperatura controlada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Nichos creados con un corte por láse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000" dirty="0">
                <a:solidFill>
                  <a:srgbClr val="000000"/>
                </a:solidFill>
              </a:rPr>
              <a:t>El paquete consta de un grupo completo </a:t>
            </a:r>
            <a:r>
              <a:rPr lang="es-ES" sz="1000" dirty="0" err="1">
                <a:solidFill>
                  <a:srgbClr val="000000"/>
                </a:solidFill>
              </a:rPr>
              <a:t>premontado</a:t>
            </a:r>
            <a:r>
              <a:rPr lang="es-ES" sz="1000" dirty="0">
                <a:solidFill>
                  <a:srgbClr val="000000"/>
                </a:solidFill>
              </a:rPr>
              <a:t> que contiene el nuevo rodillo de cola y las piezas de </a:t>
            </a:r>
            <a:r>
              <a:rPr lang="es-ES" sz="1000">
                <a:solidFill>
                  <a:srgbClr val="000000"/>
                </a:solidFill>
              </a:rPr>
              <a:t>adaptación necesarias.</a:t>
            </a: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21" name="Immagine 14">
            <a:extLst>
              <a:ext uri="{FF2B5EF4-FFF2-40B4-BE49-F238E27FC236}">
                <a16:creationId xmlns:a16="http://schemas.microsoft.com/office/drawing/2014/main" id="{DB582045-C0C7-4BEF-B664-40FC9EDF15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784331" y="4129523"/>
            <a:ext cx="1295958" cy="162859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magine 16">
            <a:extLst>
              <a:ext uri="{FF2B5EF4-FFF2-40B4-BE49-F238E27FC236}">
                <a16:creationId xmlns:a16="http://schemas.microsoft.com/office/drawing/2014/main" id="{1E46B672-8BCA-4B17-8DB9-22BC5EDC7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739406" y="4079007"/>
            <a:ext cx="769594" cy="167911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magine 15">
            <a:extLst>
              <a:ext uri="{FF2B5EF4-FFF2-40B4-BE49-F238E27FC236}">
                <a16:creationId xmlns:a16="http://schemas.microsoft.com/office/drawing/2014/main" id="{DA3D252B-D10A-4301-B9A8-B548562F4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293014" y="4152488"/>
            <a:ext cx="1295958" cy="15958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3338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schemas.microsoft.com/office/infopath/2007/PartnerControls"/>
    <ds:schemaRef ds:uri="http://schemas.microsoft.com/office/2006/metadata/properties"/>
    <ds:schemaRef ds:uri="a43ef570-d230-47fc-9dce-81ae025d238e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434e2f32-19b3-47cb-9d2c-18393d983a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1</TotalTime>
  <Words>263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Asegúrese de que se aplica la cantidad correcta de co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97</cp:revision>
  <dcterms:created xsi:type="dcterms:W3CDTF">2018-02-10T17:04:39Z</dcterms:created>
  <dcterms:modified xsi:type="dcterms:W3CDTF">2021-04-20T13:0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7:39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